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3" r:id="rId1"/>
    <p:sldMasterId id="2147483848" r:id="rId2"/>
  </p:sldMasterIdLst>
  <p:notesMasterIdLst>
    <p:notesMasterId r:id="rId7"/>
  </p:notesMasterIdLst>
  <p:handoutMasterIdLst>
    <p:handoutMasterId r:id="rId8"/>
  </p:handoutMasterIdLst>
  <p:sldIdLst>
    <p:sldId id="599" r:id="rId3"/>
    <p:sldId id="600" r:id="rId4"/>
    <p:sldId id="603" r:id="rId5"/>
    <p:sldId id="602" r:id="rId6"/>
  </p:sldIdLst>
  <p:sldSz cx="12192000" cy="6858000"/>
  <p:notesSz cx="6797675" cy="9872663"/>
  <p:custDataLst>
    <p:tags r:id="rId9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2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66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INCHAUX Xavier" initials="RTE" lastIdx="8" clrIdx="0"/>
  <p:cmAuthor id="29" name="Srom, Jakub" initials="SJ" lastIdx="1" clrIdx="29">
    <p:extLst>
      <p:ext uri="{19B8F6BF-5375-455C-9EA6-DF929625EA0E}">
        <p15:presenceInfo xmlns:p15="http://schemas.microsoft.com/office/powerpoint/2012/main" userId="Srom, Jakub" providerId="None"/>
      </p:ext>
    </p:extLst>
  </p:cmAuthor>
  <p:cmAuthor id="1" name="Tore Granli" initials="TG" lastIdx="4" clrIdx="1"/>
  <p:cmAuthor id="2" name="Dammer, Arne" initials="DA" lastIdx="5" clrIdx="2"/>
  <p:cmAuthor id="3" name="OTE-OM" initials="OTE-OM" lastIdx="3" clrIdx="3"/>
  <p:cmAuthor id="4" name="DUFOURG Marie" initials="RTE" lastIdx="10" clrIdx="4"/>
  <p:cmAuthor id="5" name="ELIA" initials="ELIA" lastIdx="13" clrIdx="5"/>
  <p:cmAuthor id="6" name="EPEXSPOT" initials="EPEX" lastIdx="6" clrIdx="6"/>
  <p:cmAuthor id="7" name="EPEX" initials="EPEX" lastIdx="30" clrIdx="7"/>
  <p:cmAuthor id="8" name="Vladimír Satek" initials="VS" lastIdx="42" clrIdx="8"/>
  <p:cmAuthor id="9" name="ycuellar" initials="YC" lastIdx="11" clrIdx="9"/>
  <p:cmAuthor id="10" name="Lucie Ryšavá" initials="LR" lastIdx="41" clrIdx="10"/>
  <p:cmAuthor id="11" name="Karri Mäkelä" initials="KM" lastIdx="38" clrIdx="11"/>
  <p:cmAuthor id="12" name="Helene" initials="H" lastIdx="10" clrIdx="12"/>
  <p:cmAuthor id="13" name="Nord Pool Spot 1" initials="NPS 1" lastIdx="5" clrIdx="13"/>
  <p:cmAuthor id="14" name="Tjitske Kramer" initials="TK" lastIdx="4" clrIdx="14"/>
  <p:cmAuthor id="15" name="NPS" initials="KM" lastIdx="1" clrIdx="15"/>
  <p:cmAuthor id="16" name="EPEX SPOT" initials="EPEX" lastIdx="7" clrIdx="16"/>
  <p:cmAuthor id="17" name="Jose Javier Gonzalez" initials="JJG" lastIdx="1" clrIdx="17"/>
  <p:cmAuthor id="18" name="Yolanda Cuellar" initials="OMIE" lastIdx="6" clrIdx="18"/>
  <p:cmAuthor id="19" name="Rysava , Lucie" initials="LR" lastIdx="49" clrIdx="19"/>
  <p:cmAuthor id="20" name="Klara Valkova" initials="KV" lastIdx="5" clrIdx="20"/>
  <p:cmAuthor id="21" name="Lucie Rysava (PXs PMO)" initials="LR" lastIdx="5" clrIdx="21"/>
  <p:cmAuthor id="22" name="NPS1" initials="NPS1" lastIdx="3" clrIdx="22"/>
  <p:cmAuthor id="23" name="Lucie Ryšavá (PXs PMO)" initials="LR" lastIdx="7" clrIdx="23"/>
  <p:cmAuthor id="24" name="PXs" initials="PXs" lastIdx="13" clrIdx="24"/>
  <p:cmAuthor id="25" name="Alejandro Esteban" initials="AE" lastIdx="11" clrIdx="25"/>
  <p:cmAuthor id="26" name="OM" initials="OM" lastIdx="1" clrIdx="26"/>
  <p:cmAuthor id="27" name="Miha Pregl" initials="MP" lastIdx="2" clrIdx="27"/>
  <p:cmAuthor id="28" name="EMT" initials="EMT" lastIdx="1" clrIdx="2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66CCFF"/>
    <a:srgbClr val="F03333"/>
    <a:srgbClr val="7F7F7F"/>
    <a:srgbClr val="C00000"/>
    <a:srgbClr val="83A644"/>
    <a:srgbClr val="FC7B10"/>
    <a:srgbClr val="E9EDF4"/>
    <a:srgbClr val="D0D8E8"/>
    <a:srgbClr val="95B3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45" autoAdjust="0"/>
    <p:restoredTop sz="50000" autoAdjust="0"/>
  </p:normalViewPr>
  <p:slideViewPr>
    <p:cSldViewPr snapToGrid="0">
      <p:cViewPr varScale="1">
        <p:scale>
          <a:sx n="86" d="100"/>
          <a:sy n="86" d="100"/>
        </p:scale>
        <p:origin x="773" y="48"/>
      </p:cViewPr>
      <p:guideLst>
        <p:guide orient="horz" pos="923"/>
        <p:guide pos="3840"/>
        <p:guide pos="66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78" y="96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1275" y="0"/>
            <a:ext cx="2944813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5C611AE-D204-4A87-AAC2-AFEEC8975774}" type="datetimeFigureOut">
              <a:rPr lang="en-GB" altLang="en-US"/>
              <a:pPr>
                <a:defRPr/>
              </a:pPr>
              <a:t>02/09/2019</a:t>
            </a:fld>
            <a:endParaRPr lang="en-GB" alt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48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1275" y="9377363"/>
            <a:ext cx="2944813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8697528-1335-477D-82AB-8B236B3C975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054281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4813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B19206F8-B867-403A-B2E4-817EB2EBA37D}" type="datetimeFigureOut">
              <a:rPr lang="en-US" altLang="en-US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3025" y="774700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 noProof="0" dirty="0" err="1"/>
              <a:t>Cliquez</a:t>
            </a:r>
            <a:r>
              <a:rPr lang="en-US" altLang="en-US" noProof="0" dirty="0"/>
              <a:t> pour modifier les styles du </a:t>
            </a:r>
            <a:r>
              <a:rPr lang="en-US" altLang="en-US" noProof="0" dirty="0" err="1"/>
              <a:t>texte</a:t>
            </a:r>
            <a:r>
              <a:rPr lang="en-US" altLang="en-US" noProof="0" dirty="0"/>
              <a:t> du masque</a:t>
            </a:r>
          </a:p>
          <a:p>
            <a:pPr lvl="1"/>
            <a:r>
              <a:rPr lang="en-US" altLang="en-US" noProof="0" dirty="0" err="1"/>
              <a:t>Deux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  <a:p>
            <a:pPr lvl="2"/>
            <a:r>
              <a:rPr lang="en-US" altLang="en-US" noProof="0" dirty="0" err="1"/>
              <a:t>Trois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  <a:p>
            <a:pPr lvl="3"/>
            <a:r>
              <a:rPr lang="en-US" altLang="en-US" noProof="0" dirty="0" err="1"/>
              <a:t>Quatr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  <a:p>
            <a:pPr lvl="4"/>
            <a:r>
              <a:rPr lang="en-US" altLang="en-US" noProof="0" dirty="0" err="1"/>
              <a:t>Cinquièm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niveau</a:t>
            </a:r>
            <a:endParaRPr lang="en-US" alt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48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275" y="9377363"/>
            <a:ext cx="2944813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60325E30-007A-4EC7-826C-F28AC8A9958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862125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7.xml"/><Relationship Id="rId7" Type="http://schemas.openxmlformats.org/officeDocument/2006/relationships/image" Target="../media/image8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9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6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480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77"/>
          <a:stretch/>
        </p:blipFill>
        <p:spPr>
          <a:xfrm>
            <a:off x="5676000" y="6728829"/>
            <a:ext cx="6516000" cy="131812"/>
          </a:xfrm>
          <a:prstGeom prst="rect">
            <a:avLst/>
          </a:prstGeom>
        </p:spPr>
      </p:pic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28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,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19" name="Grafik 8">
            <a:extLst>
              <a:ext uri="{FF2B5EF4-FFF2-40B4-BE49-F238E27FC236}">
                <a16:creationId xmlns:a16="http://schemas.microsoft.com/office/drawing/2014/main" id="{0FFAC4A5-7B6F-4C55-A10F-604708440F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17"/>
          <a:stretch/>
        </p:blipFill>
        <p:spPr>
          <a:xfrm>
            <a:off x="1901363" y="6071811"/>
            <a:ext cx="2008938" cy="559976"/>
          </a:xfrm>
          <a:prstGeom prst="rect">
            <a:avLst/>
          </a:prstGeom>
        </p:spPr>
      </p:pic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443E7E82-5464-453E-8A10-75D4052BC9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97742059-D498-4F4E-9ECF-C1D46C142C4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8593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356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3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518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76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798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21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5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3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235237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26D844-2CB3-42C2-8D31-0CA2FCE2F5F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Rectangle 266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4D3854-2FF3-4820-A987-A47511D224F6}" type="datetime1">
              <a:rPr lang="en-US"/>
              <a:pPr>
                <a:defRPr/>
              </a:pPr>
              <a:t>9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827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77"/>
          <a:stretch/>
        </p:blipFill>
        <p:spPr>
          <a:xfrm>
            <a:off x="5676000" y="6728829"/>
            <a:ext cx="6516000" cy="131812"/>
          </a:xfrm>
          <a:prstGeom prst="rect">
            <a:avLst/>
          </a:prstGeom>
        </p:spPr>
      </p:pic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28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,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19" name="Grafik 8">
            <a:extLst>
              <a:ext uri="{FF2B5EF4-FFF2-40B4-BE49-F238E27FC236}">
                <a16:creationId xmlns:a16="http://schemas.microsoft.com/office/drawing/2014/main" id="{0FFAC4A5-7B6F-4C55-A10F-604708440F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17"/>
          <a:stretch/>
        </p:blipFill>
        <p:spPr>
          <a:xfrm>
            <a:off x="1901363" y="6071811"/>
            <a:ext cx="2008938" cy="559976"/>
          </a:xfrm>
          <a:prstGeom prst="rect">
            <a:avLst/>
          </a:prstGeom>
        </p:spPr>
      </p:pic>
      <p:pic>
        <p:nvPicPr>
          <p:cNvPr id="26" name="Grafik 10">
            <a:extLst>
              <a:ext uri="{FF2B5EF4-FFF2-40B4-BE49-F238E27FC236}">
                <a16:creationId xmlns:a16="http://schemas.microsoft.com/office/drawing/2014/main" id="{27981706-9C71-4CD8-BF15-BABD8D7A81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11357"/>
          <a:stretch/>
        </p:blipFill>
        <p:spPr>
          <a:xfrm>
            <a:off x="1901363" y="165037"/>
            <a:ext cx="2415072" cy="455676"/>
          </a:xfrm>
          <a:prstGeom prst="rect">
            <a:avLst/>
          </a:prstGeom>
        </p:spPr>
      </p:pic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443E7E82-5464-453E-8A10-75D4052BC9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97742059-D498-4F4E-9ECF-C1D46C142C4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9854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9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5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86824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5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484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93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1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421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5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6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6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6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5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5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5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5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833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9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63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631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5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70063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3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98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7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32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1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181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5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798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21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6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5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3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31377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200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5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6941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227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4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810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770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16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6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6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6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5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5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5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5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042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354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35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635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082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31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9" name="think-cell Folie" r:id="rId5" imgW="473" imgH="473" progId="TCLayout.ActiveDocument.1">
                  <p:embed/>
                </p:oleObj>
              </mc:Choice>
              <mc:Fallback>
                <p:oleObj name="think-cell Folie" r:id="rId5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04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3.v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67471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Folie" r:id="rId17" imgW="473" imgH="473" progId="TCLayout.ActiveDocument.1">
                  <p:embed/>
                </p:oleObj>
              </mc:Choice>
              <mc:Fallback>
                <p:oleObj name="think-cell Folie" r:id="rId17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988884" y="6561302"/>
            <a:ext cx="3464432" cy="242601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48601" y="6561297"/>
            <a:ext cx="76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5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30" name="Datumsplatzhalter 29"/>
          <p:cNvSpPr>
            <a:spLocks noGrp="1"/>
          </p:cNvSpPr>
          <p:nvPr>
            <p:ph type="dt" sz="half" idx="2"/>
          </p:nvPr>
        </p:nvSpPr>
        <p:spPr>
          <a:xfrm>
            <a:off x="6409267" y="6561297"/>
            <a:ext cx="914400" cy="2412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5" name="Grafik 30">
            <a:extLst>
              <a:ext uri="{FF2B5EF4-FFF2-40B4-BE49-F238E27FC236}">
                <a16:creationId xmlns:a16="http://schemas.microsoft.com/office/drawing/2014/main" id="{5E44FA6D-78F3-41B2-B581-F9757DC0D6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11696"/>
            <a:ext cx="3245034" cy="146304"/>
          </a:xfrm>
          <a:prstGeom prst="rect">
            <a:avLst/>
          </a:prstGeom>
        </p:spPr>
      </p:pic>
      <p:pic>
        <p:nvPicPr>
          <p:cNvPr id="11" name="Grafik 8">
            <a:extLst>
              <a:ext uri="{FF2B5EF4-FFF2-40B4-BE49-F238E27FC236}">
                <a16:creationId xmlns:a16="http://schemas.microsoft.com/office/drawing/2014/main" id="{9915C60C-6901-4290-9804-6834376E6A22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888" y="0"/>
            <a:ext cx="6139204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36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4" r:id="rId10"/>
    <p:sldLayoutId id="2147483845" r:id="rId11"/>
    <p:sldLayoutId id="2147483847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53" userDrawn="1">
          <p15:clr>
            <a:srgbClr val="F26B43"/>
          </p15:clr>
        </p15:guide>
        <p15:guide id="4" pos="7227" userDrawn="1">
          <p15:clr>
            <a:srgbClr val="F26B43"/>
          </p15:clr>
        </p15:guide>
        <p15:guide id="5" pos="118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" name="think-cell Folie" r:id="rId16" imgW="473" imgH="473" progId="TCLayout.ActiveDocument.1">
                  <p:embed/>
                </p:oleObj>
              </mc:Choice>
              <mc:Fallback>
                <p:oleObj name="think-cell Folie" r:id="rId16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988884" y="6561302"/>
            <a:ext cx="3464432" cy="242601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48601" y="6561297"/>
            <a:ext cx="76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5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30" name="Datumsplatzhalter 29"/>
          <p:cNvSpPr>
            <a:spLocks noGrp="1"/>
          </p:cNvSpPr>
          <p:nvPr>
            <p:ph type="dt" sz="half" idx="2"/>
          </p:nvPr>
        </p:nvSpPr>
        <p:spPr>
          <a:xfrm>
            <a:off x="6409267" y="6561297"/>
            <a:ext cx="914400" cy="2412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9/2/2019</a:t>
            </a:fld>
            <a:endParaRPr lang="en-US" alt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5" name="Grafik 30">
            <a:extLst>
              <a:ext uri="{FF2B5EF4-FFF2-40B4-BE49-F238E27FC236}">
                <a16:creationId xmlns:a16="http://schemas.microsoft.com/office/drawing/2014/main" id="{5E44FA6D-78F3-41B2-B581-F9757DC0D6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11696"/>
            <a:ext cx="3245034" cy="146304"/>
          </a:xfrm>
          <a:prstGeom prst="rect">
            <a:avLst/>
          </a:prstGeom>
        </p:spPr>
      </p:pic>
      <p:pic>
        <p:nvPicPr>
          <p:cNvPr id="11" name="Grafik 8">
            <a:extLst>
              <a:ext uri="{FF2B5EF4-FFF2-40B4-BE49-F238E27FC236}">
                <a16:creationId xmlns:a16="http://schemas.microsoft.com/office/drawing/2014/main" id="{3E41E802-CBB6-43A7-8F07-8C10664C224B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888" y="0"/>
            <a:ext cx="6139204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646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kladní informace k testování připravovaného propojení vnitrodenního trhu  (1/2)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EA69F7-CAED-45AE-832E-1E513A60FD10}" type="slidenum">
              <a:rPr lang="en-US" altLang="en-US" smtClean="0"/>
              <a:pPr/>
              <a:t>1</a:t>
            </a:fld>
            <a:endParaRPr lang="en-US" altLang="en-US" dirty="0"/>
          </a:p>
        </p:txBody>
      </p:sp>
      <p:sp>
        <p:nvSpPr>
          <p:cNvPr id="7" name="Zástupný symbol pro text 6">
            <a:extLst>
              <a:ext uri="{FF2B5EF4-FFF2-40B4-BE49-F238E27FC236}">
                <a16:creationId xmlns:a16="http://schemas.microsoft.com/office/drawing/2014/main" id="{1D6CA318-533B-43B6-8FAE-A6374208B9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342343"/>
            <a:ext cx="10728000" cy="4896000"/>
          </a:xfrm>
        </p:spPr>
        <p:txBody>
          <a:bodyPr>
            <a:normAutofit/>
          </a:bodyPr>
          <a:lstStyle/>
          <a:p>
            <a:pPr algn="just">
              <a:spcBef>
                <a:spcPts val="1200"/>
              </a:spcBef>
            </a:pPr>
            <a:r>
              <a:rPr lang="cs-CZ" b="1" dirty="0"/>
              <a:t>Cíl</a:t>
            </a:r>
            <a:r>
              <a:rPr lang="en-US" b="1" dirty="0"/>
              <a:t>: </a:t>
            </a:r>
            <a:endParaRPr lang="cs-CZ" b="1" dirty="0"/>
          </a:p>
          <a:p>
            <a:pPr algn="just">
              <a:spcBef>
                <a:spcPts val="1200"/>
              </a:spcBef>
            </a:pPr>
            <a:r>
              <a:rPr lang="cs-CZ" dirty="0"/>
              <a:t>Testování je zaměřeno na nové implicitní a explicitní účastníky trhu, s cílem seznámení se s</a:t>
            </a:r>
            <a:r>
              <a:rPr lang="en-US" dirty="0"/>
              <a:t>: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novými funkcemi představenými ve 2. verzi XBID – toto platí i pro účastníky trhu, kteří se již aktivně účastní SIDC (za předpokladu, že se jeho</a:t>
            </a:r>
            <a:r>
              <a:rPr lang="cs-CZ" dirty="0">
                <a:solidFill>
                  <a:srgbClr val="FF0000"/>
                </a:solidFill>
              </a:rPr>
              <a:t> </a:t>
            </a:r>
            <a:r>
              <a:rPr lang="cs-CZ" dirty="0"/>
              <a:t>příslušné NEMO účastní Testování</a:t>
            </a:r>
            <a:r>
              <a:rPr lang="en-US" dirty="0"/>
              <a:t>),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funkcemi a procesy v rámci SIDC - platí pro účastníky trhu, kteří dosud SIDC nevyužívají</a:t>
            </a:r>
          </a:p>
          <a:p>
            <a:pPr marL="180975" lvl="1" indent="0" algn="just">
              <a:spcBef>
                <a:spcPts val="1200"/>
              </a:spcBef>
              <a:buNone/>
            </a:pPr>
            <a:r>
              <a:rPr lang="cs-CZ" sz="1600" u="sng" dirty="0"/>
              <a:t>Poznámka</a:t>
            </a:r>
            <a:r>
              <a:rPr lang="cs-CZ" sz="1600" dirty="0"/>
              <a:t>: Implicitní účastníci trhu mají přístup k SIDC prostřednictvím lokálního obchodního systému, které se mohou u jednotlivých NEMO lišit, protože mohou mít i další funkce podporující různé procesy</a:t>
            </a:r>
          </a:p>
          <a:p>
            <a:pPr algn="just">
              <a:spcBef>
                <a:spcPts val="1200"/>
              </a:spcBef>
            </a:pPr>
            <a:r>
              <a:rPr lang="cs-CZ" b="1" dirty="0"/>
              <a:t>Plán testování</a:t>
            </a:r>
            <a:r>
              <a:rPr lang="en-US" dirty="0"/>
              <a:t>: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1. kolo</a:t>
            </a:r>
            <a:r>
              <a:rPr lang="en-US" dirty="0"/>
              <a:t>: 14/10/2019 - 18/10/2019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2. kolo</a:t>
            </a:r>
            <a:r>
              <a:rPr lang="en-US" dirty="0"/>
              <a:t>: 21/10/2019 - 25/10/2019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3. kolo</a:t>
            </a:r>
            <a:r>
              <a:rPr lang="en-US" dirty="0"/>
              <a:t>: 28/10/2019 - 0</a:t>
            </a:r>
            <a:r>
              <a:rPr lang="cs-CZ" dirty="0"/>
              <a:t>1</a:t>
            </a:r>
            <a:r>
              <a:rPr lang="en-US" dirty="0"/>
              <a:t>/11/2019</a:t>
            </a:r>
          </a:p>
          <a:p>
            <a:pPr marL="180975" lvl="1" indent="0" algn="just">
              <a:spcBef>
                <a:spcPts val="1200"/>
              </a:spcBef>
              <a:buNone/>
            </a:pPr>
            <a:r>
              <a:rPr lang="cs-CZ" sz="1600" u="sng" dirty="0"/>
              <a:t>Poznámka</a:t>
            </a:r>
            <a:r>
              <a:rPr lang="cs-CZ" sz="1600" dirty="0"/>
              <a:t>: Za aktivaci jednotlivých kol je plně zodpovědný projekt SIDC. Cílem je provedení všech relevantních scénářů již v prvním kole testování.</a:t>
            </a:r>
          </a:p>
        </p:txBody>
      </p:sp>
    </p:spTree>
    <p:extLst>
      <p:ext uri="{BB962C8B-B14F-4D97-AF65-F5344CB8AC3E}">
        <p14:creationId xmlns:p14="http://schemas.microsoft.com/office/powerpoint/2010/main" val="86858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kladní informace k testování připravovaného propojení vnitrodenního trhu (2/2)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EA69F7-CAED-45AE-832E-1E513A60FD10}" type="slidenum">
              <a:rPr lang="en-US" altLang="en-US" smtClean="0"/>
              <a:pPr/>
              <a:t>2</a:t>
            </a:fld>
            <a:endParaRPr lang="en-US" altLang="en-US" dirty="0"/>
          </a:p>
        </p:txBody>
      </p:sp>
      <p:sp>
        <p:nvSpPr>
          <p:cNvPr id="7" name="Zástupný symbol pro text 6">
            <a:extLst>
              <a:ext uri="{FF2B5EF4-FFF2-40B4-BE49-F238E27FC236}">
                <a16:creationId xmlns:a16="http://schemas.microsoft.com/office/drawing/2014/main" id="{1D6CA318-533B-43B6-8FAE-A6374208B9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1289073"/>
            <a:ext cx="10728000" cy="5121298"/>
          </a:xfrm>
        </p:spPr>
        <p:txBody>
          <a:bodyPr>
            <a:normAutofit fontScale="92500"/>
          </a:bodyPr>
          <a:lstStyle/>
          <a:p>
            <a:pPr algn="just">
              <a:spcBef>
                <a:spcPts val="1200"/>
              </a:spcBef>
            </a:pPr>
            <a:r>
              <a:rPr lang="cs-CZ" b="1" dirty="0"/>
              <a:t>Harmonogram testování</a:t>
            </a:r>
            <a:r>
              <a:rPr lang="en-US" b="1" dirty="0"/>
              <a:t>: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IT systém bude během Testování fungovat v režimu 24x5 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Podpora pro účastníky trhu (provozní a technické konzultace, simulace předdefinovaných scénářů) bude poskytována od 9:00 do 17:00, a to NEMO pro implicitní účastníky trhu a TSO (HOPS, ELES, RTE, </a:t>
            </a:r>
            <a:r>
              <a:rPr lang="cs-CZ" dirty="0" err="1"/>
              <a:t>Amprion</a:t>
            </a:r>
            <a:r>
              <a:rPr lang="cs-CZ" dirty="0"/>
              <a:t>) pro explicitní účastníky trhu na příslušných hranicích.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Všechny žádosti o podporu nebo konzultace mimo časy podpory jsou v odpovědnosti každého NEMO.</a:t>
            </a:r>
            <a:r>
              <a:rPr lang="en-US" dirty="0"/>
              <a:t>  </a:t>
            </a:r>
          </a:p>
          <a:p>
            <a:pPr algn="just">
              <a:spcBef>
                <a:spcPts val="1200"/>
              </a:spcBef>
            </a:pPr>
            <a:r>
              <a:rPr lang="cs-CZ" b="1" dirty="0"/>
              <a:t>Technická zabezpečení</a:t>
            </a:r>
            <a:r>
              <a:rPr lang="en-US" b="1" dirty="0"/>
              <a:t>: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Implicitní účastníci trhu - jsou plně odpovědností každého NEMO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Explicitní účastníci trhu - jsou v odpovědnosti příslušných provozovatelů přenosových soustav (HOPS, ELES, RTE, </a:t>
            </a:r>
            <a:r>
              <a:rPr lang="cs-CZ" dirty="0" err="1"/>
              <a:t>Amprion</a:t>
            </a:r>
            <a:r>
              <a:rPr lang="cs-CZ" dirty="0"/>
              <a:t>) - distribuce dat o připojení, testy připojení, manuály pro explicitní účastníky, … </a:t>
            </a:r>
          </a:p>
          <a:p>
            <a:pPr algn="just">
              <a:spcBef>
                <a:spcPts val="1200"/>
              </a:spcBef>
            </a:pPr>
            <a:r>
              <a:rPr lang="cs-CZ" b="1" dirty="0"/>
              <a:t>Systémové a provozní zprávy</a:t>
            </a:r>
            <a:r>
              <a:rPr lang="en-US" b="1" dirty="0"/>
              <a:t>:</a:t>
            </a:r>
          </a:p>
          <a:p>
            <a:pPr lvl="2" algn="just">
              <a:spcBef>
                <a:spcPts val="1200"/>
              </a:spcBef>
            </a:pPr>
            <a:r>
              <a:rPr lang="cs-CZ" dirty="0"/>
              <a:t>Účelem Testování je simulovat provoz co nejblíže standardním podmínkám trhu. To znamená, že systém bude generovat i systémové a provozní  zprávy. Účastníkům trhu doporučujeme dbát zvýšenou pozornost při rozlišováním mezi zprávami přicházejícími z Testování a zprávami přicházejícími z běžného provozu.</a:t>
            </a:r>
          </a:p>
        </p:txBody>
      </p:sp>
    </p:spTree>
    <p:extLst>
      <p:ext uri="{BB962C8B-B14F-4D97-AF65-F5344CB8AC3E}">
        <p14:creationId xmlns:p14="http://schemas.microsoft.com/office/powerpoint/2010/main" val="238606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2B34C4B-1165-47BA-B1F5-E0271CB2DE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2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2B34C4B-1165-47BA-B1F5-E0271CB2D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D49E58B-F136-4FA8-A0C0-9CB32200A2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ndard</a:t>
            </a:r>
            <a:r>
              <a:rPr lang="cs-CZ" dirty="0"/>
              <a:t>ní obchodovací </a:t>
            </a:r>
            <a:r>
              <a:rPr lang="en-GB" dirty="0"/>
              <a:t> </a:t>
            </a:r>
            <a:r>
              <a:rPr lang="cs-CZ" dirty="0"/>
              <a:t>schéma v</a:t>
            </a:r>
            <a:r>
              <a:rPr lang="en-GB" dirty="0"/>
              <a:t> XBID </a:t>
            </a:r>
            <a:br>
              <a:rPr lang="en-GB" dirty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2145060"/>
              </p:ext>
            </p:extLst>
          </p:nvPr>
        </p:nvGraphicFramePr>
        <p:xfrm>
          <a:off x="400403" y="1127724"/>
          <a:ext cx="11391193" cy="5477039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2536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59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26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36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00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2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468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05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0430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737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3004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3741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205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52168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70792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259244">
                <a:tc rowSpan="2" gridSpan="2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. vlna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. vlna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71500">
                <a:tc gridSpan="2" v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akous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rancie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ěmec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Španělsko &amp; Portugalsko 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L &amp; Belgie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Nordics</a:t>
                      </a:r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&amp; </a:t>
                      </a:r>
                      <a:r>
                        <a:rPr lang="cs-CZ" sz="105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Baltics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Bulhars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horvats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Česká republika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aďars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ls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umuns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lovinsko</a:t>
                      </a:r>
                      <a:endParaRPr lang="cs-CZ" sz="105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055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u="none" strike="noStrike" dirty="0">
                          <a:effectLst/>
                        </a:rPr>
                        <a:t> Otevření</a:t>
                      </a:r>
                    </a:p>
                    <a:p>
                      <a:pPr algn="l" fontAlgn="ctr"/>
                      <a:r>
                        <a:rPr lang="cs-CZ" sz="1100" u="none" strike="noStrike" dirty="0">
                          <a:effectLst/>
                        </a:rPr>
                        <a:t> obchodování</a:t>
                      </a:r>
                    </a:p>
                    <a:p>
                      <a:pPr algn="l" fontAlgn="ctr"/>
                      <a:r>
                        <a:rPr lang="cs-CZ" sz="11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GOT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Všechny produkt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15:00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15:00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18:00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r>
                        <a:rPr lang="es-ES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cs-CZ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:00</a:t>
                      </a:r>
                      <a:r>
                        <a:rPr lang="de-DE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***</a:t>
                      </a:r>
                      <a:endParaRPr lang="cs-CZ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14:00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14:00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00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00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00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:00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00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:00</a:t>
                      </a:r>
                    </a:p>
                  </a:txBody>
                  <a:tcPr marL="9525" marR="9525" marT="9525" marB="0" anchor="ctr" anchorCtr="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0550">
                <a:tc rowSpan="4">
                  <a:txBody>
                    <a:bodyPr/>
                    <a:lstStyle/>
                    <a:p>
                      <a:pPr algn="l" fontAlgn="ctr"/>
                      <a:r>
                        <a:rPr lang="cs-CZ" sz="1100" u="none" strike="noStrike" dirty="0">
                          <a:effectLst/>
                        </a:rPr>
                        <a:t> Uzavření</a:t>
                      </a:r>
                    </a:p>
                    <a:p>
                      <a:pPr algn="l" fontAlgn="ctr"/>
                      <a:r>
                        <a:rPr lang="cs-CZ" sz="1100" u="none" strike="noStrike" dirty="0">
                          <a:effectLst/>
                        </a:rPr>
                        <a:t> obchodování****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15-min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100" u="none" strike="noStrike" dirty="0">
                          <a:effectLst/>
                        </a:rPr>
                        <a:t>D-</a:t>
                      </a:r>
                      <a:r>
                        <a:rPr lang="cs-CZ" sz="1100" u="none" strike="noStrike" dirty="0">
                          <a:effectLst/>
                        </a:rPr>
                        <a:t>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055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30-min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l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055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1 h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6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5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60min*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 min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3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055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Bloky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30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>
                          <a:effectLst/>
                        </a:rPr>
                        <a:t>D-30 min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5 min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u="none" strike="noStrike" dirty="0">
                          <a:effectLst/>
                        </a:rPr>
                        <a:t>D-6</a:t>
                      </a:r>
                      <a:r>
                        <a:rPr lang="de-DE" sz="1100" u="none" strike="noStrike" dirty="0">
                          <a:effectLst/>
                        </a:rPr>
                        <a:t>0</a:t>
                      </a:r>
                      <a:r>
                        <a:rPr lang="cs-CZ" sz="1100" u="none" strike="noStrike" dirty="0">
                          <a:effectLst/>
                        </a:rPr>
                        <a:t>min*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3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60</a:t>
                      </a:r>
                      <a:r>
                        <a:rPr lang="cs-CZ" sz="1100" u="none" strike="noStrike" dirty="0">
                          <a:effectLst/>
                        </a:rPr>
                        <a:t> min</a:t>
                      </a:r>
                      <a:endParaRPr lang="cs-CZ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 anchorCtr="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055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Omezení</a:t>
                      </a:r>
                    </a:p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cs-CZ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ampování</a:t>
                      </a:r>
                      <a:endParaRPr lang="cs-CZ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 gridSpan="14"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HzT-DK2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1A-NO2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1A-SE3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1A-DK1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,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1-DK2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K1-TTN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E-FI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T-SE4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2-TTN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C-SE4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T-PLC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7556350"/>
                  </a:ext>
                </a:extLst>
              </a:tr>
              <a:tr h="59055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Časové rozlišení</a:t>
                      </a:r>
                    </a:p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na hranicích</a:t>
                      </a:r>
                    </a:p>
                  </a:txBody>
                  <a:tcPr marL="9525" marR="9525" marT="9525" marB="0" anchor="ctr"/>
                </a:tc>
                <a:tc gridSpan="14"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HzT-AMP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HzT-TN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HzT-TT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P-AP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NG-AP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TG-AP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P-TN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P-TT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NG-TT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VIR-AP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ES-AP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PS-APG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15 min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P-RTE, TNG-RTE: 30 min</a:t>
                      </a:r>
                      <a:r>
                        <a:rPr lang="cs-CZ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šechna ostatní propojení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 60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ut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3573851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oznámky</a:t>
                      </a:r>
                    </a:p>
                  </a:txBody>
                  <a:tcPr marL="9525" marR="9525" marT="9525" marB="0" anchor="ctr"/>
                </a:tc>
                <a:tc gridSpan="14"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u="none" strike="noStrike" dirty="0">
                          <a:effectLst/>
                        </a:rPr>
                        <a:t>* Fin</a:t>
                      </a:r>
                      <a:r>
                        <a:rPr lang="cs-CZ" sz="1100" u="none" strike="noStrike" dirty="0" err="1">
                          <a:effectLst/>
                        </a:rPr>
                        <a:t>sko</a:t>
                      </a:r>
                      <a:r>
                        <a:rPr lang="sv-SE" sz="1100" u="none" strike="noStrike" dirty="0">
                          <a:effectLst/>
                        </a:rPr>
                        <a:t> a Eston</a:t>
                      </a:r>
                      <a:r>
                        <a:rPr lang="cs-CZ" sz="1100" u="none" strike="noStrike" dirty="0" err="1">
                          <a:effectLst/>
                        </a:rPr>
                        <a:t>sko</a:t>
                      </a:r>
                      <a:r>
                        <a:rPr lang="sv-SE" sz="1100" u="none" strike="noStrike" dirty="0">
                          <a:effectLst/>
                        </a:rPr>
                        <a:t> </a:t>
                      </a:r>
                      <a:r>
                        <a:rPr lang="cs-CZ" sz="1100" u="none" strike="noStrike" dirty="0">
                          <a:effectLst/>
                        </a:rPr>
                        <a:t>v</a:t>
                      </a:r>
                      <a:r>
                        <a:rPr lang="sv-SE" sz="1100" u="none" strike="noStrike" dirty="0">
                          <a:effectLst/>
                        </a:rPr>
                        <a:t> D-30 min</a:t>
                      </a:r>
                      <a:r>
                        <a:rPr lang="hu-HU" sz="1100" u="none" strike="noStrike" dirty="0">
                          <a:effectLst/>
                        </a:rPr>
                        <a:t>, **HU lokální produkty mimo XBID</a:t>
                      </a:r>
                      <a:r>
                        <a:rPr lang="de-DE" sz="1100" u="none" strike="noStrike" dirty="0">
                          <a:effectLst/>
                        </a:rPr>
                        <a:t>, </a:t>
                      </a:r>
                      <a:r>
                        <a:rPr lang="en-US" sz="1100" u="none" strike="noStrike" dirty="0">
                          <a:effectLst/>
                        </a:rPr>
                        <a:t>***</a:t>
                      </a:r>
                      <a:r>
                        <a:rPr lang="cs-CZ" sz="1100" dirty="0"/>
                        <a:t>Tento čas se vztahuje na otevření v XBID</a:t>
                      </a:r>
                      <a:r>
                        <a:rPr lang="en-US" sz="1100" u="none" strike="noStrike" dirty="0">
                          <a:effectLst/>
                        </a:rPr>
                        <a:t>. GOT </a:t>
                      </a:r>
                      <a:r>
                        <a:rPr lang="cs-CZ" sz="1100" u="none" strike="noStrike" dirty="0">
                          <a:effectLst/>
                        </a:rPr>
                        <a:t>pro </a:t>
                      </a:r>
                      <a:r>
                        <a:rPr lang="cs-CZ" sz="1100" dirty="0"/>
                        <a:t>Pyrenejský trh bude 15:00 od Q4 2019 (čeká se na regulatorní rozhodnutí). Předpokládá se, že GOT hranice PT-ES bude do konce září přesun</a:t>
                      </a:r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ta</a:t>
                      </a:r>
                      <a:r>
                        <a:rPr lang="cs-CZ" sz="1100" dirty="0"/>
                        <a:t> na 15 hodin, pokud budou připraveny potřebné regulatorní změny</a:t>
                      </a:r>
                      <a:r>
                        <a:rPr lang="en-US" sz="1100" u="none" strike="noStrike" dirty="0">
                          <a:effectLst/>
                        </a:rPr>
                        <a:t>. ****</a:t>
                      </a:r>
                      <a:r>
                        <a:rPr lang="cs-CZ" sz="1100" u="none" strike="noStrike" dirty="0">
                          <a:effectLst/>
                        </a:rPr>
                        <a:t>Uzávěrka v rámci </a:t>
                      </a:r>
                      <a:r>
                        <a:rPr lang="en-US" sz="1100" u="none" strike="noStrike" dirty="0">
                          <a:effectLst/>
                        </a:rPr>
                        <a:t>XBID/SOB; </a:t>
                      </a:r>
                      <a:r>
                        <a:rPr lang="cs-CZ" sz="1100" u="none" strike="noStrike" dirty="0">
                          <a:effectLst/>
                        </a:rPr>
                        <a:t>čas uzávěrky obchodování se může u jednotlivých NEMO lišit</a:t>
                      </a:r>
                      <a:r>
                        <a:rPr lang="en-US" sz="1100" u="none" strike="noStrike" dirty="0">
                          <a:effectLst/>
                        </a:rPr>
                        <a:t>.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4309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Testovací scénáře / Denní plán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2EA69F7-CAED-45AE-832E-1E513A60FD10}" type="slidenum">
              <a:rPr lang="en-US" altLang="en-US" smtClean="0"/>
              <a:pPr/>
              <a:t>4</a:t>
            </a:fld>
            <a:endParaRPr lang="en-US" altLang="en-US" dirty="0"/>
          </a:p>
        </p:txBody>
      </p:sp>
      <p:sp>
        <p:nvSpPr>
          <p:cNvPr id="7" name="Zástupný symbol pro text 6">
            <a:extLst>
              <a:ext uri="{FF2B5EF4-FFF2-40B4-BE49-F238E27FC236}">
                <a16:creationId xmlns:a16="http://schemas.microsoft.com/office/drawing/2014/main" id="{1D6CA318-533B-43B6-8FAE-A6374208B9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cs-CZ" dirty="0"/>
              <a:t>Týden</a:t>
            </a:r>
            <a:r>
              <a:rPr lang="en-US" dirty="0"/>
              <a:t> 42</a:t>
            </a:r>
          </a:p>
          <a:p>
            <a:pPr lvl="1">
              <a:spcBef>
                <a:spcPts val="1200"/>
              </a:spcBef>
              <a:tabLst>
                <a:tab pos="2517775" algn="l"/>
              </a:tabLst>
            </a:pPr>
            <a:r>
              <a:rPr lang="cs-CZ" dirty="0"/>
              <a:t>P</a:t>
            </a:r>
            <a:r>
              <a:rPr lang="en-US" dirty="0"/>
              <a:t>o 14.10.2019	</a:t>
            </a:r>
            <a:r>
              <a:rPr lang="cs-CZ" dirty="0"/>
              <a:t>Normální provoz</a:t>
            </a:r>
            <a:endParaRPr lang="en-US" dirty="0"/>
          </a:p>
          <a:p>
            <a:pPr lvl="1">
              <a:spcBef>
                <a:spcPts val="1200"/>
              </a:spcBef>
              <a:tabLst>
                <a:tab pos="2517775" algn="l"/>
              </a:tabLst>
            </a:pPr>
            <a:r>
              <a:rPr lang="cs-CZ" dirty="0"/>
              <a:t>Út</a:t>
            </a:r>
            <a:r>
              <a:rPr lang="en-US" dirty="0"/>
              <a:t> 15.10.2019	</a:t>
            </a:r>
            <a:r>
              <a:rPr lang="cs-CZ" dirty="0"/>
              <a:t>Normální provoz</a:t>
            </a:r>
            <a:endParaRPr lang="en-US" dirty="0"/>
          </a:p>
          <a:p>
            <a:pPr lvl="1">
              <a:spcBef>
                <a:spcPts val="1200"/>
              </a:spcBef>
              <a:tabLst>
                <a:tab pos="2517775" algn="l"/>
              </a:tabLst>
            </a:pPr>
            <a:r>
              <a:rPr lang="cs-CZ" dirty="0"/>
              <a:t>St</a:t>
            </a:r>
            <a:r>
              <a:rPr lang="en-US" dirty="0"/>
              <a:t> 16.10.2019	</a:t>
            </a:r>
            <a:r>
              <a:rPr lang="cs-CZ" dirty="0"/>
              <a:t>Normální provoz </a:t>
            </a:r>
            <a:r>
              <a:rPr lang="en-US" dirty="0"/>
              <a:t>+ </a:t>
            </a:r>
            <a:r>
              <a:rPr lang="cs-CZ" dirty="0"/>
              <a:t>T</a:t>
            </a:r>
            <a:r>
              <a:rPr lang="en-US" dirty="0" err="1"/>
              <a:t>rade</a:t>
            </a:r>
            <a:r>
              <a:rPr lang="en-US" dirty="0"/>
              <a:t> cancel </a:t>
            </a:r>
            <a:r>
              <a:rPr lang="cs-CZ" dirty="0"/>
              <a:t>(XBID systémem) </a:t>
            </a:r>
            <a:r>
              <a:rPr lang="en-US" dirty="0"/>
              <a:t>+ </a:t>
            </a:r>
            <a:r>
              <a:rPr lang="cs-CZ" dirty="0"/>
              <a:t>Uzavření trhu (trhů)</a:t>
            </a:r>
          </a:p>
          <a:p>
            <a:pPr lvl="1">
              <a:spcBef>
                <a:spcPts val="1200"/>
              </a:spcBef>
              <a:tabLst>
                <a:tab pos="2517775" algn="l"/>
              </a:tabLst>
            </a:pPr>
            <a:r>
              <a:rPr lang="cs-CZ" dirty="0"/>
              <a:t>Čt</a:t>
            </a:r>
            <a:r>
              <a:rPr lang="en-US" dirty="0"/>
              <a:t> 17.10.2019	</a:t>
            </a:r>
            <a:r>
              <a:rPr lang="cs-CZ" dirty="0"/>
              <a:t>Normální provoz </a:t>
            </a:r>
            <a:r>
              <a:rPr lang="en-US" dirty="0"/>
              <a:t>+ </a:t>
            </a:r>
            <a:r>
              <a:rPr lang="cs-CZ" dirty="0"/>
              <a:t>T</a:t>
            </a:r>
            <a:r>
              <a:rPr lang="en-US" dirty="0" err="1"/>
              <a:t>rade</a:t>
            </a:r>
            <a:r>
              <a:rPr lang="en-US" dirty="0"/>
              <a:t> cancel </a:t>
            </a:r>
            <a:r>
              <a:rPr lang="cs-CZ" dirty="0"/>
              <a:t>(XBID systémem) </a:t>
            </a:r>
            <a:r>
              <a:rPr lang="en-US" dirty="0"/>
              <a:t>+ </a:t>
            </a:r>
            <a:r>
              <a:rPr lang="cs-CZ" dirty="0"/>
              <a:t>Uzavření hranic</a:t>
            </a:r>
            <a:endParaRPr lang="en-US" dirty="0"/>
          </a:p>
          <a:p>
            <a:pPr lvl="1">
              <a:spcBef>
                <a:spcPts val="1200"/>
              </a:spcBef>
              <a:tabLst>
                <a:tab pos="2517775" algn="l"/>
              </a:tabLst>
            </a:pPr>
            <a:r>
              <a:rPr lang="cs-CZ" dirty="0"/>
              <a:t>Pá</a:t>
            </a:r>
            <a:r>
              <a:rPr lang="en-US" dirty="0"/>
              <a:t> 18.10.2019 	</a:t>
            </a:r>
            <a:r>
              <a:rPr lang="cs-CZ" dirty="0"/>
              <a:t>Neplánuje se žádné testování</a:t>
            </a:r>
            <a:endParaRPr lang="en-US" dirty="0"/>
          </a:p>
          <a:p>
            <a:pPr>
              <a:spcBef>
                <a:spcPts val="1200"/>
              </a:spcBef>
            </a:pPr>
            <a:endParaRPr lang="en-US" dirty="0"/>
          </a:p>
          <a:p>
            <a:pPr>
              <a:spcBef>
                <a:spcPts val="1200"/>
              </a:spcBef>
            </a:pPr>
            <a:r>
              <a:rPr lang="cs-CZ" dirty="0"/>
              <a:t>Týden</a:t>
            </a:r>
            <a:r>
              <a:rPr lang="en-US" dirty="0"/>
              <a:t> 43 – </a:t>
            </a:r>
            <a:r>
              <a:rPr lang="cs-CZ" dirty="0"/>
              <a:t>Vyhrazeno pro další kolo testování, pokud bude aktivováno projektem SIDC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cs-CZ" dirty="0"/>
              <a:t>Týden</a:t>
            </a:r>
            <a:r>
              <a:rPr lang="en-US" dirty="0"/>
              <a:t> 44 – </a:t>
            </a:r>
            <a:r>
              <a:rPr lang="cs-CZ" dirty="0"/>
              <a:t>Vyhrazeno pro další kolo testování, pokud bude aktivováno projektem SIDC</a:t>
            </a:r>
            <a:endParaRPr lang="en-US" dirty="0"/>
          </a:p>
          <a:p>
            <a:pPr>
              <a:spcBef>
                <a:spcPts val="12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907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ZJXjhrs4fwWVSQeDb5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3</TotalTime>
  <Words>650</Words>
  <Application>Microsoft Office PowerPoint</Application>
  <PresentationFormat>Širokoúhlá obrazovka</PresentationFormat>
  <Paragraphs>115</Paragraphs>
  <Slides>4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</vt:i4>
      </vt:variant>
    </vt:vector>
  </HeadingPairs>
  <TitlesOfParts>
    <vt:vector size="10" baseType="lpstr">
      <vt:lpstr>Arial</vt:lpstr>
      <vt:lpstr>Calibri</vt:lpstr>
      <vt:lpstr>Symbol</vt:lpstr>
      <vt:lpstr>XBID Templates</vt:lpstr>
      <vt:lpstr>1_XBID Templates</vt:lpstr>
      <vt:lpstr>think-cell Folie</vt:lpstr>
      <vt:lpstr>Základní informace k testování připravovaného propojení vnitrodenního trhu  (1/2)</vt:lpstr>
      <vt:lpstr>Základní informace k testování připravovaného propojení vnitrodenního trhu (2/2)</vt:lpstr>
      <vt:lpstr>Standardní obchodovací  schéma v XBID  </vt:lpstr>
      <vt:lpstr>Testovací scénáře / Denní plán</vt:lpstr>
    </vt:vector>
  </TitlesOfParts>
  <Company>APX-ENDEX/Belp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ck off Legal &amp; Contract TF</dc:title>
  <dc:creator>Tjitske Kramer</dc:creator>
  <cp:lastModifiedBy>Zuzana Vacková, OTE</cp:lastModifiedBy>
  <cp:revision>2595</cp:revision>
  <cp:lastPrinted>2012-11-12T07:39:19Z</cp:lastPrinted>
  <dcterms:created xsi:type="dcterms:W3CDTF">2012-03-01T10:29:33Z</dcterms:created>
  <dcterms:modified xsi:type="dcterms:W3CDTF">2019-09-02T11:02:58Z</dcterms:modified>
</cp:coreProperties>
</file>